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3"/>
  </p:notesMasterIdLst>
  <p:sldIdLst>
    <p:sldId id="3343" r:id="rId9"/>
    <p:sldId id="3346" r:id="rId10"/>
    <p:sldId id="2145705568" r:id="rId11"/>
    <p:sldId id="2145705566" r:id="rId12"/>
    <p:sldId id="2147375019" r:id="rId13"/>
    <p:sldId id="2147375017" r:id="rId14"/>
    <p:sldId id="2145705874" r:id="rId15"/>
    <p:sldId id="2145705878" r:id="rId16"/>
    <p:sldId id="2145705879" r:id="rId17"/>
    <p:sldId id="2145705900" r:id="rId18"/>
    <p:sldId id="2147375020" r:id="rId19"/>
    <p:sldId id="2145705872" r:id="rId20"/>
    <p:sldId id="2145705907" r:id="rId21"/>
    <p:sldId id="2147375014" r:id="rId22"/>
    <p:sldId id="2145705889" r:id="rId23"/>
    <p:sldId id="2147375021" r:id="rId24"/>
    <p:sldId id="2147375027" r:id="rId25"/>
    <p:sldId id="2147375000" r:id="rId26"/>
    <p:sldId id="2147375004" r:id="rId27"/>
    <p:sldId id="2147375005" r:id="rId28"/>
    <p:sldId id="2147375006" r:id="rId29"/>
    <p:sldId id="2147375007" r:id="rId30"/>
    <p:sldId id="2147375025" r:id="rId31"/>
    <p:sldId id="2147375026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99"/>
    <p:restoredTop sz="94762"/>
  </p:normalViewPr>
  <p:slideViewPr>
    <p:cSldViewPr snapToGrid="0">
      <p:cViewPr varScale="1">
        <p:scale>
          <a:sx n="121" d="100"/>
          <a:sy n="121" d="100"/>
        </p:scale>
        <p:origin x="136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8/2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7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9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98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10.jpe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6"/>
            <a:ext cx="4465469" cy="1373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 Gao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Jan 1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Cross-Cells/Cross-Experiment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  <p:pic>
        <p:nvPicPr>
          <p:cNvPr id="3" name="Picture 2" descr="Welcome 2023 vector t-shirt design,Happy New Year SVG PNG PDF, New Year  Shirt Svg,">
            <a:extLst>
              <a:ext uri="{FF2B5EF4-FFF2-40B4-BE49-F238E27FC236}">
                <a16:creationId xmlns:a16="http://schemas.microsoft.com/office/drawing/2014/main" id="{C127933A-B263-72E9-DBE8-2D37AADF38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0" r="20514" b="15610"/>
          <a:stretch/>
        </p:blipFill>
        <p:spPr bwMode="auto">
          <a:xfrm>
            <a:off x="5696072" y="997395"/>
            <a:ext cx="5281165" cy="486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13040</TotalTime>
  <Words>1067</Words>
  <Application>Microsoft Macintosh PowerPoint</Application>
  <PresentationFormat>Widescreen</PresentationFormat>
  <Paragraphs>391</Paragraphs>
  <Slides>2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System Font Regular</vt:lpstr>
      <vt:lpstr>Arial</vt:lpstr>
      <vt:lpstr>Arial Narrow</vt:lpstr>
      <vt:lpstr>Calibri</vt:lpstr>
      <vt:lpstr>Century Gothic</vt:lpstr>
      <vt:lpstr>Helvetica Neue</vt:lpstr>
      <vt:lpstr>Menlo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56</cp:revision>
  <dcterms:created xsi:type="dcterms:W3CDTF">2021-06-27T14:47:41Z</dcterms:created>
  <dcterms:modified xsi:type="dcterms:W3CDTF">2023-08-23T23:19:33Z</dcterms:modified>
</cp:coreProperties>
</file>